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57C3F-0FB2-4B2E-BA6A-FEEEFF1AF7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685801"/>
            <a:ext cx="8115300" cy="3046228"/>
          </a:xfrm>
        </p:spPr>
        <p:txBody>
          <a:bodyPr anchor="b">
            <a:normAutofit/>
          </a:bodyPr>
          <a:lstStyle>
            <a:lvl1pPr algn="ctr">
              <a:defRPr sz="36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83AE9-1CC1-4572-A6E5-E97F80E476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7400" y="4114800"/>
            <a:ext cx="8115300" cy="2057400"/>
          </a:xfrm>
        </p:spPr>
        <p:txBody>
          <a:bodyPr/>
          <a:lstStyle>
            <a:lvl1pPr marL="0" indent="0" algn="ctr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4DE7C-68AB-403D-B9D8-7398C292C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EA57E-7C1A-457B-A4CD-5DCEB057B502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03E50-6613-4D86-AA22-43B14E727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69AB5-A56D-471F-9236-EFA981E2E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878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2744C-12E6-455B-B646-2EA92DE0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D71C4D-C062-4EEE-9A9A-31ADCC5C87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4DC97-C26E-407A-9E29-68C52D547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89749-A4CD-447F-8298-2B7988C91CEA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2E9353-B771-47FF-975E-72337414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5A858-B8B2-4364-A7D0-B2E8FAE0A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0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2A6BABE-D80C-4F54-A03C-E1F9EBCA83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285191-EF5B-48BE-AB5D-B7BA4C3D09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A387A-1231-4FE3-8574-D4331A343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444D3-C0BA-4587-A56C-581AB9F841BE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1559-4901-4AD3-ABE7-DF023545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F6C18E-B751-4E7B-9CD8-1BF44DAB8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074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9B412-EBAB-4569-B3D9-6B346BF83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</p:spPr>
        <p:txBody>
          <a:bodyPr>
            <a:normAutofit/>
          </a:bodyPr>
          <a:lstStyle>
            <a:lvl1pPr algn="l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7C8AE-B0F4-404F-BCAD-A14C18E50D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A9CAD-DAFB-4DE3-9C41-7FD03EA8D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AF2CE-4F37-411C-A3EE-BBBE223265BF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E3137-8136-46C5-AC2F-49E5F55E4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AB6EF-A0B1-4706-AE44-253A6B182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47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2F68-BF19-468D-B422-54B6D189F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77407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BF7D7-84D4-4A39-B44E-9B029EEB1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641624"/>
            <a:ext cx="10515600" cy="1448026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29709-D243-41E8-89FA-62FA7AEB5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083D4-708C-4BB5-B4FD-30CE9FA12FD5}" type="datetime1">
              <a:rPr lang="en-US" smtClean="0"/>
              <a:t>2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B99C0-DC2A-4133-A10D-D43A1E05B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22EFD-A17E-47F5-8AC9-EFD6D813D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722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C668D-BFBE-4765-A294-8303931B5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071" y="566278"/>
            <a:ext cx="9512429" cy="965458"/>
          </a:xfrm>
        </p:spPr>
        <p:txBody>
          <a:bodyPr/>
          <a:lstStyle>
            <a:lvl1pPr algn="ctr">
              <a:defRPr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3C212-F55F-4D0D-BFA7-F00A33CAA1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9758" y="2057400"/>
            <a:ext cx="5031521" cy="4119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54BDD7-2575-4E82-887D-DCAF9EB15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5408" y="2057401"/>
            <a:ext cx="5016834" cy="4119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AECC8-3C3A-4A5D-AB7A-1F99E5023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239B2-65BC-4C2A-A62B-3EABFE9590E4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47609B-ACA4-4323-9340-C7DB166D7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409EA3-C5C7-4AC6-956A-DB9A3B4F3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870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0CDE0-7431-4F05-AA47-F10EB46C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276552" cy="1149350"/>
          </a:xfrm>
        </p:spPr>
        <p:txBody>
          <a:bodyPr>
            <a:normAutofit/>
          </a:bodyPr>
          <a:lstStyle>
            <a:lvl1pPr algn="ctr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9FFA7-D3EA-4CB8-A471-94235AD62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5360D2-88E8-43C8-92D1-67AB23BBE2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768F6-20A1-47A1-90FE-903135EEFD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555EC1-268F-4324-A003-3608AA0D8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55C8E4-FCB8-4E06-9C43-0ACD949A7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05F5A-E4A3-476F-A89E-C2B73F2431E4}" type="datetime1">
              <a:rPr lang="en-US" smtClean="0"/>
              <a:t>2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01C005-C973-4D82-942A-334F1D43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FB6186-6570-4DE8-8603-70B0A51DF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753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5ADD3-88C8-4B01-8CC6-808C0E41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634E6A-1390-4101-B78E-759231340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61515-4A26-4F31-9F61-5A10B1FABBFC}" type="datetime1">
              <a:rPr lang="en-US" smtClean="0"/>
              <a:t>2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BC7B90-4C99-4653-872A-3572A02DA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03516-4D31-49D2-9488-33C734A7A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393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0D8488-CF25-431B-A87A-AAF141BD0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5DC65-7D1F-4BAB-9695-F7E734143E14}" type="datetime1">
              <a:rPr lang="en-US" smtClean="0"/>
              <a:t>2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2F58E5-C92D-4C64-B867-0576B1EAD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16797-ABEC-4FE0-AFDE-36107B967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34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8F2B0-990D-418E-9D10-2464E9866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81131-AFFD-4339-9F30-D408B5105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7C47F4-7968-4698-8BD3-A583099FAA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2BC6F-3996-4B2B-B8F2-DD3A82CCF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24077-BD55-4036-8E92-6558FDF3B653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832E66-581A-4CF2-A40A-4E24FAAC4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B1C89-C625-4618-81A2-FB34E4DA0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183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1486F-443A-4F2D-AB1F-8B1F4C4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A21213-E7FB-406A-B8CD-735AAC7AD0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41A03-500E-49F7-8D99-A1EAFE4D3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1523D-69E9-4EAE-A610-B3A237B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225F2-7107-4609-BCC2-77C63064A5E8}" type="datetime1">
              <a:rPr lang="en-US" smtClean="0"/>
              <a:t>2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B852F-4134-4AB5-BA87-483B1E1AD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34C5CB-918E-4A09-8222-D36E37B6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365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A32AA-2BE3-4CB8-BE3C-8A2D589E5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478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7FA32AA-2BE3-4CB8-BE3C-8A2D589E5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AA0686-7BAC-45C0-BA30-0D0CBCE5C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4202DE-82CD-407D-8C68-174B0CBB5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599" y="2254103"/>
            <a:ext cx="9486901" cy="3918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4AC9D-6E1B-46D3-959F-A068A1EDB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9800022" y="3223751"/>
            <a:ext cx="4114801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D3FE42E8-8B57-452D-A122-4DCE9AC771EF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C0015-9EFB-40F8-BC00-AC2483D609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-1708136" y="3223750"/>
            <a:ext cx="4114800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2C732-0E3E-49E0-A72E-D4C08CB44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340" y="6356350"/>
            <a:ext cx="871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spc="30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F8E28480-1C08-4458-AD97-0283E6FFD0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159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7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6376A467-4708-4D38-A4BE-4B7CE94FA934}"/>
              </a:ext>
            </a:extLst>
          </p:cNvPr>
          <p:cNvSpPr/>
          <p:nvPr/>
        </p:nvSpPr>
        <p:spPr>
          <a:xfrm>
            <a:off x="5298324" y="4238997"/>
            <a:ext cx="3749422" cy="252002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49D0ED-E7E5-4DA6-878D-7B3EB7049ED4}"/>
              </a:ext>
            </a:extLst>
          </p:cNvPr>
          <p:cNvSpPr txBox="1">
            <a:spLocks/>
          </p:cNvSpPr>
          <p:nvPr/>
        </p:nvSpPr>
        <p:spPr>
          <a:xfrm>
            <a:off x="5309294" y="4469984"/>
            <a:ext cx="3669243" cy="856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093F69-C1E4-4569-8FD0-399FF6997AD2}"/>
              </a:ext>
            </a:extLst>
          </p:cNvPr>
          <p:cNvSpPr/>
          <p:nvPr/>
        </p:nvSpPr>
        <p:spPr>
          <a:xfrm>
            <a:off x="223647" y="4238997"/>
            <a:ext cx="4747364" cy="252002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A7F419-4735-4E0C-9F7D-9F8B01C7F582}"/>
              </a:ext>
            </a:extLst>
          </p:cNvPr>
          <p:cNvSpPr/>
          <p:nvPr/>
        </p:nvSpPr>
        <p:spPr>
          <a:xfrm>
            <a:off x="223645" y="1024942"/>
            <a:ext cx="8824099" cy="23221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34417C-AACB-4B89-A75C-894E2F2E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418249"/>
          </a:xfrm>
        </p:spPr>
        <p:txBody>
          <a:bodyPr>
            <a:normAutofit/>
          </a:bodyPr>
          <a:lstStyle/>
          <a:p>
            <a:pPr algn="ctr"/>
            <a:r>
              <a:rPr lang="en-US" sz="2000" dirty="0"/>
              <a:t>Section B Ap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9767A0-8F9B-49E2-A621-0FBD170E8B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695" y="1273328"/>
            <a:ext cx="8478610" cy="877692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bg1"/>
                </a:solidFill>
              </a:rPr>
              <a:t>Lack of chat analysis options that try accommodate outside the chat interactions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bg1"/>
                </a:solidFill>
              </a:rPr>
              <a:t>Many chat analysis options either monitor low level information of very large groups or deep level analysis of one-on-one interactions 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bg1"/>
                </a:solidFill>
              </a:rPr>
              <a:t>Someone remote from the group wants to determine what is going on while they aren’t t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F453C51-3209-465F-909D-36A2A31F90D9}"/>
              </a:ext>
            </a:extLst>
          </p:cNvPr>
          <p:cNvSpPr txBox="1">
            <a:spLocks/>
          </p:cNvSpPr>
          <p:nvPr/>
        </p:nvSpPr>
        <p:spPr>
          <a:xfrm>
            <a:off x="216524" y="1024942"/>
            <a:ext cx="1742902" cy="30034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j-ea"/>
                <a:cs typeface="+mj-cs"/>
              </a:rPr>
              <a:t>Problem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132E61-1C99-42F2-907C-66FCFE961A38}"/>
              </a:ext>
            </a:extLst>
          </p:cNvPr>
          <p:cNvSpPr txBox="1">
            <a:spLocks/>
          </p:cNvSpPr>
          <p:nvPr/>
        </p:nvSpPr>
        <p:spPr>
          <a:xfrm>
            <a:off x="216524" y="2117720"/>
            <a:ext cx="1742902" cy="30034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j-ea"/>
                <a:cs typeface="+mj-cs"/>
              </a:rPr>
              <a:t>Solu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97069F-15F6-47F9-86A3-7EBAE5D2E369}"/>
              </a:ext>
            </a:extLst>
          </p:cNvPr>
          <p:cNvSpPr txBox="1">
            <a:spLocks/>
          </p:cNvSpPr>
          <p:nvPr/>
        </p:nvSpPr>
        <p:spPr>
          <a:xfrm>
            <a:off x="371694" y="2326676"/>
            <a:ext cx="8478610" cy="650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Chat analysis app that analyzes medium sized highly interactive groups of peopl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Metrics that identify persons, positions, and power outside of the cha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Allows input of external dat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EFA5EFF-8705-4A07-A972-B7972047A29A}"/>
              </a:ext>
            </a:extLst>
          </p:cNvPr>
          <p:cNvSpPr txBox="1">
            <a:spLocks/>
          </p:cNvSpPr>
          <p:nvPr/>
        </p:nvSpPr>
        <p:spPr>
          <a:xfrm>
            <a:off x="190433" y="5459439"/>
            <a:ext cx="2606697" cy="3261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j-ea"/>
                <a:cs typeface="+mj-cs"/>
              </a:rPr>
              <a:t>Current Statu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B526A3A-5065-4685-BEC7-61CF7417EFBB}"/>
              </a:ext>
            </a:extLst>
          </p:cNvPr>
          <p:cNvSpPr txBox="1">
            <a:spLocks/>
          </p:cNvSpPr>
          <p:nvPr/>
        </p:nvSpPr>
        <p:spPr>
          <a:xfrm>
            <a:off x="491558" y="5757559"/>
            <a:ext cx="2606698" cy="9847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everal metrics built off 4 years (2 chats for 2 years) of high level interac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Dynamic code intake for multiple types of devi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1B2B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552D7C-A6A7-4542-AD43-509CC36885E1}"/>
              </a:ext>
            </a:extLst>
          </p:cNvPr>
          <p:cNvSpPr txBox="1">
            <a:spLocks/>
          </p:cNvSpPr>
          <p:nvPr/>
        </p:nvSpPr>
        <p:spPr>
          <a:xfrm>
            <a:off x="422560" y="4467952"/>
            <a:ext cx="4519516" cy="8811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Dynamic Read-in for different phone brand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entiment analysi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Personality identifica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186436-74C4-4FD7-95FD-DDEB8410B215}"/>
              </a:ext>
            </a:extLst>
          </p:cNvPr>
          <p:cNvSpPr txBox="1">
            <a:spLocks/>
          </p:cNvSpPr>
          <p:nvPr/>
        </p:nvSpPr>
        <p:spPr>
          <a:xfrm>
            <a:off x="196387" y="4152921"/>
            <a:ext cx="4547063" cy="3903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j-ea"/>
                <a:cs typeface="+mj-cs"/>
              </a:rPr>
              <a:t>Features</a:t>
            </a:r>
            <a:endParaRPr kumimoji="0" lang="en-US" sz="1400" b="0" i="0" u="none" strike="noStrike" kern="1200" cap="all" spc="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udy Old Style"/>
              <a:ea typeface="+mj-ea"/>
              <a:cs typeface="+mj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11D1DB0-DF58-46DA-A83A-985A001903BA}"/>
              </a:ext>
            </a:extLst>
          </p:cNvPr>
          <p:cNvSpPr txBox="1">
            <a:spLocks/>
          </p:cNvSpPr>
          <p:nvPr/>
        </p:nvSpPr>
        <p:spPr>
          <a:xfrm>
            <a:off x="68477" y="257186"/>
            <a:ext cx="1742902" cy="30034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all" spc="300" normalizeH="0" baseline="0" noProof="0" dirty="0">
                <a:ln>
                  <a:noFill/>
                </a:ln>
                <a:solidFill>
                  <a:srgbClr val="301B2B"/>
                </a:solidFill>
                <a:effectLst/>
                <a:uLnTx/>
                <a:uFillTx/>
                <a:latin typeface="Goudy Old Style"/>
                <a:ea typeface="+mj-ea"/>
                <a:cs typeface="+mj-cs"/>
              </a:rPr>
              <a:t>Descriptio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8106A4F-8D2F-4271-AA6E-C825A39A3CA5}"/>
              </a:ext>
            </a:extLst>
          </p:cNvPr>
          <p:cNvSpPr txBox="1">
            <a:spLocks/>
          </p:cNvSpPr>
          <p:nvPr/>
        </p:nvSpPr>
        <p:spPr>
          <a:xfrm>
            <a:off x="223647" y="481974"/>
            <a:ext cx="11741930" cy="25121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01B2B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ection B App provides the analyses for high context WhatsApp groups, providing out of the box unique analytics designed to describe the dynamic relationships of highly interactive group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7B7DA5-E6A6-4FAF-B680-DF48CD8E0BC0}"/>
              </a:ext>
            </a:extLst>
          </p:cNvPr>
          <p:cNvSpPr/>
          <p:nvPr/>
        </p:nvSpPr>
        <p:spPr>
          <a:xfrm>
            <a:off x="7227532" y="742690"/>
            <a:ext cx="1742902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Overall Project Scop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09EB5D8-033F-4974-B2C1-F81592CD8DE3}"/>
              </a:ext>
            </a:extLst>
          </p:cNvPr>
          <p:cNvSpPr/>
          <p:nvPr/>
        </p:nvSpPr>
        <p:spPr>
          <a:xfrm>
            <a:off x="9248503" y="1007525"/>
            <a:ext cx="2726974" cy="5751493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C94A47-CF00-4CA3-8C61-7A11D0385494}"/>
              </a:ext>
            </a:extLst>
          </p:cNvPr>
          <p:cNvSpPr/>
          <p:nvPr/>
        </p:nvSpPr>
        <p:spPr>
          <a:xfrm>
            <a:off x="9804642" y="863022"/>
            <a:ext cx="1614695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Resource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49E7726-43D3-4E9B-B851-144421543BC3}"/>
              </a:ext>
            </a:extLst>
          </p:cNvPr>
          <p:cNvSpPr txBox="1">
            <a:spLocks/>
          </p:cNvSpPr>
          <p:nvPr/>
        </p:nvSpPr>
        <p:spPr>
          <a:xfrm>
            <a:off x="9207177" y="1553314"/>
            <a:ext cx="1539380" cy="289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Technical  Lead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1B2B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3424D99-3992-49BB-B1F7-879FF26BA3B3}"/>
              </a:ext>
            </a:extLst>
          </p:cNvPr>
          <p:cNvSpPr txBox="1">
            <a:spLocks/>
          </p:cNvSpPr>
          <p:nvPr/>
        </p:nvSpPr>
        <p:spPr>
          <a:xfrm>
            <a:off x="9405803" y="1708466"/>
            <a:ext cx="2412371" cy="6860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Jasson Giannini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IESE MBA ‘21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7 years in Analytic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695AE9-E203-49BF-BAEB-E175FC6CF2E0}"/>
              </a:ext>
            </a:extLst>
          </p:cNvPr>
          <p:cNvSpPr/>
          <p:nvPr/>
        </p:nvSpPr>
        <p:spPr>
          <a:xfrm>
            <a:off x="10043165" y="1307182"/>
            <a:ext cx="1060264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Personn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570AFFA4-7727-49BD-B926-8FA86D3F991F}"/>
              </a:ext>
            </a:extLst>
          </p:cNvPr>
          <p:cNvSpPr txBox="1">
            <a:spLocks/>
          </p:cNvSpPr>
          <p:nvPr/>
        </p:nvSpPr>
        <p:spPr>
          <a:xfrm>
            <a:off x="9248503" y="2361290"/>
            <a:ext cx="794662" cy="289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ponso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1B2B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FC576AD-3525-4CCB-9DCC-B1F4B323BB9A}"/>
              </a:ext>
            </a:extLst>
          </p:cNvPr>
          <p:cNvSpPr txBox="1">
            <a:spLocks/>
          </p:cNvSpPr>
          <p:nvPr/>
        </p:nvSpPr>
        <p:spPr>
          <a:xfrm>
            <a:off x="9447129" y="2516442"/>
            <a:ext cx="2412371" cy="8306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Miguel Vald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IESE MBA ‘1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5 years Product Management Experie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9E52438-BB9C-431C-9B92-F969D19FF943}"/>
              </a:ext>
            </a:extLst>
          </p:cNvPr>
          <p:cNvSpPr/>
          <p:nvPr/>
        </p:nvSpPr>
        <p:spPr>
          <a:xfrm>
            <a:off x="10043165" y="3468974"/>
            <a:ext cx="1060264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echnica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4E01948-D7BB-45A1-BCBA-0E0852289388}"/>
              </a:ext>
            </a:extLst>
          </p:cNvPr>
          <p:cNvSpPr txBox="1">
            <a:spLocks/>
          </p:cNvSpPr>
          <p:nvPr/>
        </p:nvSpPr>
        <p:spPr>
          <a:xfrm>
            <a:off x="9252601" y="3816558"/>
            <a:ext cx="1539380" cy="289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Dat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1B2B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CB37525-6868-4084-8860-90983B91FD66}"/>
              </a:ext>
            </a:extLst>
          </p:cNvPr>
          <p:cNvSpPr txBox="1">
            <a:spLocks/>
          </p:cNvSpPr>
          <p:nvPr/>
        </p:nvSpPr>
        <p:spPr>
          <a:xfrm>
            <a:off x="9451227" y="3971710"/>
            <a:ext cx="2412371" cy="11143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ection B WhatsApp cha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Time: 2019-Pres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Messages: 22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ection A WhatsApp cha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Time: 2019-Pres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Message: 19k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64680AF-C35F-4975-A0D1-397A6FC797AE}"/>
              </a:ext>
            </a:extLst>
          </p:cNvPr>
          <p:cNvSpPr txBox="1">
            <a:spLocks/>
          </p:cNvSpPr>
          <p:nvPr/>
        </p:nvSpPr>
        <p:spPr>
          <a:xfrm>
            <a:off x="9248503" y="5041745"/>
            <a:ext cx="1539380" cy="289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Infrastructure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01B2B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3D7E6A98-F3F1-4F21-934B-486930470C84}"/>
              </a:ext>
            </a:extLst>
          </p:cNvPr>
          <p:cNvSpPr txBox="1">
            <a:spLocks/>
          </p:cNvSpPr>
          <p:nvPr/>
        </p:nvSpPr>
        <p:spPr>
          <a:xfrm>
            <a:off x="9447129" y="5196897"/>
            <a:ext cx="2412371" cy="6535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Google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Cola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Github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udy Old Styl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Trello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5862EB-3FC6-4425-BF26-08C76437A95E}"/>
              </a:ext>
            </a:extLst>
          </p:cNvPr>
          <p:cNvSpPr/>
          <p:nvPr/>
        </p:nvSpPr>
        <p:spPr>
          <a:xfrm>
            <a:off x="10043165" y="5779582"/>
            <a:ext cx="1060264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Network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7C0E205-0B1A-4D7D-86B4-F74DB6310BE8}"/>
              </a:ext>
            </a:extLst>
          </p:cNvPr>
          <p:cNvSpPr txBox="1">
            <a:spLocks/>
          </p:cNvSpPr>
          <p:nvPr/>
        </p:nvSpPr>
        <p:spPr>
          <a:xfrm>
            <a:off x="9248502" y="6068590"/>
            <a:ext cx="2768301" cy="24270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Management Leadership for Tomorrow (MLT)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3190D539-6740-459B-B9DC-09F4349A27DA}"/>
              </a:ext>
            </a:extLst>
          </p:cNvPr>
          <p:cNvSpPr txBox="1">
            <a:spLocks/>
          </p:cNvSpPr>
          <p:nvPr/>
        </p:nvSpPr>
        <p:spPr>
          <a:xfrm>
            <a:off x="9447129" y="6261522"/>
            <a:ext cx="2648052" cy="4606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Global network of 400+ recently graduated MBA stud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6ABDA9B-1253-4CB0-A1FD-BBCB6A97B412}"/>
              </a:ext>
            </a:extLst>
          </p:cNvPr>
          <p:cNvSpPr/>
          <p:nvPr/>
        </p:nvSpPr>
        <p:spPr>
          <a:xfrm>
            <a:off x="5298324" y="3948193"/>
            <a:ext cx="1742902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Early Adopter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0C833A0-29C9-4594-8ED3-2B556AE69CC5}"/>
              </a:ext>
            </a:extLst>
          </p:cNvPr>
          <p:cNvSpPr/>
          <p:nvPr/>
        </p:nvSpPr>
        <p:spPr>
          <a:xfrm>
            <a:off x="223645" y="3948193"/>
            <a:ext cx="1742902" cy="289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Growth Deliverables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E7063940-4B83-4869-A8AD-4FDAFFB15FF0}"/>
              </a:ext>
            </a:extLst>
          </p:cNvPr>
          <p:cNvSpPr txBox="1">
            <a:spLocks/>
          </p:cNvSpPr>
          <p:nvPr/>
        </p:nvSpPr>
        <p:spPr>
          <a:xfrm>
            <a:off x="5316090" y="4343756"/>
            <a:ext cx="3654344" cy="109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USER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Students in Sections C, D, and E already showing interest in seeing similar analytic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Analytically minded students entering the MB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POWER class and professor analyzing student interactions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283F79BD-8B23-426F-9054-F5D3C1C3D3C6}"/>
              </a:ext>
            </a:extLst>
          </p:cNvPr>
          <p:cNvSpPr txBox="1">
            <a:spLocks/>
          </p:cNvSpPr>
          <p:nvPr/>
        </p:nvSpPr>
        <p:spPr>
          <a:xfrm>
            <a:off x="5305533" y="5441699"/>
            <a:ext cx="3654344" cy="109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CUSTOMER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POWER class and professor analyzing student intera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udy Old Style"/>
                <a:ea typeface="+mn-ea"/>
                <a:cs typeface="+mn-cs"/>
              </a:rPr>
              <a:t>Administrators looking to assess professors based on interactions</a:t>
            </a:r>
          </a:p>
        </p:txBody>
      </p:sp>
    </p:spTree>
    <p:extLst>
      <p:ext uri="{BB962C8B-B14F-4D97-AF65-F5344CB8AC3E}">
        <p14:creationId xmlns:p14="http://schemas.microsoft.com/office/powerpoint/2010/main" val="491853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assicFrameVTI">
  <a:themeElements>
    <a:clrScheme name="AnalogousFromRegularSeedLeftStep">
      <a:dk1>
        <a:srgbClr val="000000"/>
      </a:dk1>
      <a:lt1>
        <a:srgbClr val="FFFFFF"/>
      </a:lt1>
      <a:dk2>
        <a:srgbClr val="301B2B"/>
      </a:dk2>
      <a:lt2>
        <a:srgbClr val="F0F1F3"/>
      </a:lt2>
      <a:accent1>
        <a:srgbClr val="B1A11F"/>
      </a:accent1>
      <a:accent2>
        <a:srgbClr val="D57117"/>
      </a:accent2>
      <a:accent3>
        <a:srgbClr val="E73429"/>
      </a:accent3>
      <a:accent4>
        <a:srgbClr val="D5175B"/>
      </a:accent4>
      <a:accent5>
        <a:srgbClr val="E729BC"/>
      </a:accent5>
      <a:accent6>
        <a:srgbClr val="B117D5"/>
      </a:accent6>
      <a:hlink>
        <a:srgbClr val="5763C7"/>
      </a:hlink>
      <a:folHlink>
        <a:srgbClr val="7F7F7F"/>
      </a:folHlink>
    </a:clrScheme>
    <a:fontScheme name="Goudy and Gill Sans">
      <a:majorFont>
        <a:latin typeface="Goudy Old Style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ssicFrameVTI" id="{4FA2A165-EC65-4FB0-B019-8C8876A1D8E3}" vid="{9D78F1F1-8226-42FD-A1A3-975EDF6D60F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74</Words>
  <Application>Microsoft Office PowerPoint</Application>
  <PresentationFormat>Widescreen</PresentationFormat>
  <Paragraphs>5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Gill Sans MT</vt:lpstr>
      <vt:lpstr>Goudy Old Style</vt:lpstr>
      <vt:lpstr>ClassicFrameVTI</vt:lpstr>
      <vt:lpstr>think-cell Slide</vt:lpstr>
      <vt:lpstr>Section B Ap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B App</dc:title>
  <dc:creator>Giannini Giannini, Jasson</dc:creator>
  <cp:lastModifiedBy>Giannini Giannini, Jasson</cp:lastModifiedBy>
  <cp:revision>1</cp:revision>
  <dcterms:created xsi:type="dcterms:W3CDTF">2022-02-10T10:13:45Z</dcterms:created>
  <dcterms:modified xsi:type="dcterms:W3CDTF">2022-02-10T10:14:50Z</dcterms:modified>
</cp:coreProperties>
</file>